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147470734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E2FF"/>
    <a:srgbClr val="33C3FF"/>
    <a:srgbClr val="81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3D15CFF1-666B-4737-9425-6893B30B20E0}" v="1600" dt="2022-11-24T16:46:31.716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D15CFF1-666B-4737-9425-6893B30B20E0}"/>
    <pc:docChg chg="undo custSel addSld delSld modSld">
      <pc:chgData name="Andrea Evrard Comas" userId="133e4c92-0019-454e-a908-a8ccb959cd34" providerId="ADAL" clId="{3D15CFF1-666B-4737-9425-6893B30B20E0}" dt="2022-11-24T16:46:26.013" v="200" actId="1036"/>
      <pc:docMkLst>
        <pc:docMk/>
      </pc:docMkLst>
      <pc:sldChg chg="addSp delSp modSp del mod">
        <pc:chgData name="Andrea Evrard Comas" userId="133e4c92-0019-454e-a908-a8ccb959cd34" providerId="ADAL" clId="{3D15CFF1-666B-4737-9425-6893B30B20E0}" dt="2022-11-24T09:36:59.758" v="119" actId="47"/>
        <pc:sldMkLst>
          <pc:docMk/>
          <pc:sldMk cId="3887058040" sldId="261"/>
        </pc:sldMkLst>
        <pc:spChg chg="add del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2" creationId="{F4AD2E94-4B9B-405A-A936-FFA4D1ED2862}"/>
          </ac:spMkLst>
        </pc:spChg>
        <pc:spChg chg="add del mod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8" creationId="{0F371434-2026-4B50-9006-A7BB3E37589C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9" creationId="{D339A350-7F94-4D73-A450-A604A4AEC323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0" creationId="{0D680184-0848-47F1-BF8E-F0C7F384865E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5" creationId="{34C9E9D7-A739-4FF0-BAEE-3A7E44992BB9}"/>
          </ac:spMkLst>
        </pc:spChg>
        <pc:grpChg chg="add del mod">
          <ac:chgData name="Andrea Evrard Comas" userId="133e4c92-0019-454e-a908-a8ccb959cd34" providerId="ADAL" clId="{3D15CFF1-666B-4737-9425-6893B30B20E0}" dt="2022-11-24T09:35:08.718" v="70" actId="478"/>
          <ac:grpSpMkLst>
            <pc:docMk/>
            <pc:sldMk cId="3887058040" sldId="261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2:36.812" v="16"/>
          <ac:graphicFrameMkLst>
            <pc:docMk/>
            <pc:sldMk cId="3887058040" sldId="261"/>
            <ac:graphicFrameMk id="4" creationId="{8151242A-E4F1-4B89-A511-5D7392C89FB6}"/>
          </ac:graphicFrameMkLst>
        </pc:graphicFrameChg>
      </pc:sldChg>
      <pc:sldChg chg="modSp mod">
        <pc:chgData name="Andrea Evrard Comas" userId="133e4c92-0019-454e-a908-a8ccb959cd34" providerId="ADAL" clId="{3D15CFF1-666B-4737-9425-6893B30B20E0}" dt="2022-11-24T11:58:27.578" v="191" actId="108"/>
        <pc:sldMkLst>
          <pc:docMk/>
          <pc:sldMk cId="3441313966" sldId="2147470717"/>
        </pc:sldMkLst>
        <pc:graphicFrameChg chg="mod modGraphic">
          <ac:chgData name="Andrea Evrard Comas" userId="133e4c92-0019-454e-a908-a8ccb959cd34" providerId="ADAL" clId="{3D15CFF1-666B-4737-9425-6893B30B20E0}" dt="2022-11-24T11:58:27.578" v="191" actId="108"/>
          <ac:graphicFrameMkLst>
            <pc:docMk/>
            <pc:sldMk cId="3441313966" sldId="2147470717"/>
            <ac:graphicFrameMk id="15" creationId="{7EEBD3A7-4306-416B-A880-0F72E1FA4C90}"/>
          </ac:graphicFrameMkLst>
        </pc:graphicFrameChg>
      </pc:sldChg>
      <pc:sldChg chg="modSp mod">
        <pc:chgData name="Andrea Evrard Comas" userId="133e4c92-0019-454e-a908-a8ccb959cd34" providerId="ADAL" clId="{3D15CFF1-666B-4737-9425-6893B30B20E0}" dt="2022-11-23T18:59:45.603" v="1" actId="20577"/>
        <pc:sldMkLst>
          <pc:docMk/>
          <pc:sldMk cId="80354386" sldId="2147470720"/>
        </pc:sldMkLst>
        <pc:spChg chg="mod">
          <ac:chgData name="Andrea Evrard Comas" userId="133e4c92-0019-454e-a908-a8ccb959cd34" providerId="ADAL" clId="{3D15CFF1-666B-4737-9425-6893B30B20E0}" dt="2022-11-23T18:59:45.603" v="1" actId="20577"/>
          <ac:spMkLst>
            <pc:docMk/>
            <pc:sldMk cId="80354386" sldId="2147470720"/>
            <ac:spMk id="3" creationId="{3F7A1489-7706-4945-BA01-D10FC7C37D24}"/>
          </ac:spMkLst>
        </pc:spChg>
      </pc:sldChg>
      <pc:sldChg chg="addSp delSp modSp mod">
        <pc:chgData name="Andrea Evrard Comas" userId="133e4c92-0019-454e-a908-a8ccb959cd34" providerId="ADAL" clId="{3D15CFF1-666B-4737-9425-6893B30B20E0}" dt="2022-11-24T16:46:26.013" v="200" actId="1036"/>
        <pc:sldMkLst>
          <pc:docMk/>
          <pc:sldMk cId="2927836606" sldId="2147470723"/>
        </pc:sldMkLst>
        <pc:picChg chg="add del mod">
          <ac:chgData name="Andrea Evrard Comas" userId="133e4c92-0019-454e-a908-a8ccb959cd34" providerId="ADAL" clId="{3D15CFF1-666B-4737-9425-6893B30B20E0}" dt="2022-11-24T16:46:10.357" v="192" actId="478"/>
          <ac:picMkLst>
            <pc:docMk/>
            <pc:sldMk cId="2927836606" sldId="2147470723"/>
            <ac:picMk id="3" creationId="{7D724D48-97D8-4781-ABFD-25AB436E3565}"/>
          </ac:picMkLst>
        </pc:picChg>
        <pc:picChg chg="add mod">
          <ac:chgData name="Andrea Evrard Comas" userId="133e4c92-0019-454e-a908-a8ccb959cd34" providerId="ADAL" clId="{3D15CFF1-666B-4737-9425-6893B30B20E0}" dt="2022-11-24T16:46:26.013" v="200" actId="1036"/>
          <ac:picMkLst>
            <pc:docMk/>
            <pc:sldMk cId="2927836606" sldId="2147470723"/>
            <ac:picMk id="4" creationId="{7C553A42-E667-4AA7-9EB3-B6579057A269}"/>
          </ac:picMkLst>
        </pc:picChg>
        <pc:picChg chg="del">
          <ac:chgData name="Andrea Evrard Comas" userId="133e4c92-0019-454e-a908-a8ccb959cd34" providerId="ADAL" clId="{3D15CFF1-666B-4737-9425-6893B30B20E0}" dt="2022-11-24T08:12:30.261" v="2" actId="478"/>
          <ac:picMkLst>
            <pc:docMk/>
            <pc:sldMk cId="2927836606" sldId="2147470723"/>
            <ac:picMk id="50" creationId="{B8631380-53BA-4B0F-9F3B-84F97AE29A06}"/>
          </ac:picMkLst>
        </pc:picChg>
      </pc:sldChg>
      <pc:sldChg chg="delSp modSp mod">
        <pc:chgData name="Andrea Evrard Comas" userId="133e4c92-0019-454e-a908-a8ccb959cd34" providerId="ADAL" clId="{3D15CFF1-666B-4737-9425-6893B30B20E0}" dt="2022-11-24T11:56:05.394" v="179" actId="1076"/>
        <pc:sldMkLst>
          <pc:docMk/>
          <pc:sldMk cId="4184439049" sldId="2147470725"/>
        </pc:sldMkLst>
        <pc:picChg chg="mod">
          <ac:chgData name="Andrea Evrard Comas" userId="133e4c92-0019-454e-a908-a8ccb959cd34" providerId="ADAL" clId="{3D15CFF1-666B-4737-9425-6893B30B20E0}" dt="2022-11-24T11:56:05.394" v="179" actId="1076"/>
          <ac:picMkLst>
            <pc:docMk/>
            <pc:sldMk cId="4184439049" sldId="2147470725"/>
            <ac:picMk id="3" creationId="{C46D8037-1768-4F55-82DB-59A630AA250B}"/>
          </ac:picMkLst>
        </pc:picChg>
        <pc:picChg chg="mod">
          <ac:chgData name="Andrea Evrard Comas" userId="133e4c92-0019-454e-a908-a8ccb959cd34" providerId="ADAL" clId="{3D15CFF1-666B-4737-9425-6893B30B20E0}" dt="2022-11-24T11:56:01.634" v="178" actId="1076"/>
          <ac:picMkLst>
            <pc:docMk/>
            <pc:sldMk cId="4184439049" sldId="2147470725"/>
            <ac:picMk id="7" creationId="{41406AFB-2A91-4EFB-8C2C-9840F2C30448}"/>
          </ac:picMkLst>
        </pc:picChg>
        <pc:picChg chg="del mod">
          <ac:chgData name="Andrea Evrard Comas" userId="133e4c92-0019-454e-a908-a8ccb959cd34" providerId="ADAL" clId="{3D15CFF1-666B-4737-9425-6893B30B20E0}" dt="2022-11-24T11:53:30.444" v="125" actId="478"/>
          <ac:picMkLst>
            <pc:docMk/>
            <pc:sldMk cId="4184439049" sldId="2147470725"/>
            <ac:picMk id="11" creationId="{281FD4DB-95BF-4E0E-AC16-9E82C50D415B}"/>
          </ac:picMkLst>
        </pc:picChg>
      </pc:sldChg>
      <pc:sldChg chg="addSp delSp modSp mod">
        <pc:chgData name="Andrea Evrard Comas" userId="133e4c92-0019-454e-a908-a8ccb959cd34" providerId="ADAL" clId="{3D15CFF1-666B-4737-9425-6893B30B20E0}" dt="2022-11-24T11:55:52.297" v="177" actId="1076"/>
        <pc:sldMkLst>
          <pc:docMk/>
          <pc:sldMk cId="2637513573" sldId="2147470733"/>
        </pc:sldMkLst>
        <pc:spChg chg="mod ord">
          <ac:chgData name="Andrea Evrard Comas" userId="133e4c92-0019-454e-a908-a8ccb959cd34" providerId="ADAL" clId="{3D15CFF1-666B-4737-9425-6893B30B20E0}" dt="2022-11-24T11:54:56.576" v="151"/>
          <ac:spMkLst>
            <pc:docMk/>
            <pc:sldMk cId="2637513573" sldId="2147470733"/>
            <ac:spMk id="77" creationId="{C5AD312E-53A2-45AD-92C4-21EE104410E5}"/>
          </ac:spMkLst>
        </pc:spChg>
        <pc:grpChg chg="mod ord">
          <ac:chgData name="Andrea Evrard Comas" userId="133e4c92-0019-454e-a908-a8ccb959cd34" providerId="ADAL" clId="{3D15CFF1-666B-4737-9425-6893B30B20E0}" dt="2022-11-24T11:55:52.297" v="177" actId="1076"/>
          <ac:grpSpMkLst>
            <pc:docMk/>
            <pc:sldMk cId="2637513573" sldId="2147470733"/>
            <ac:grpSpMk id="12" creationId="{7069BCDF-AB84-4146-9D9D-06174D93A592}"/>
          </ac:grpSpMkLst>
        </pc:grpChg>
        <pc:graphicFrameChg chg="mod">
          <ac:chgData name="Andrea Evrard Comas" userId="133e4c92-0019-454e-a908-a8ccb959cd34" providerId="ADAL" clId="{3D15CFF1-666B-4737-9425-6893B30B20E0}" dt="2022-11-24T11:54:56.579" v="159"/>
          <ac:graphicFrameMkLst>
            <pc:docMk/>
            <pc:sldMk cId="2637513573" sldId="2147470733"/>
            <ac:graphicFrameMk id="39" creationId="{C6A7AA2E-3E32-4746-BF0B-C43000A895DE}"/>
          </ac:graphicFrameMkLst>
        </pc:graphicFrameChg>
        <pc:picChg chg="mod">
          <ac:chgData name="Andrea Evrard Comas" userId="133e4c92-0019-454e-a908-a8ccb959cd34" providerId="ADAL" clId="{3D15CFF1-666B-4737-9425-6893B30B20E0}" dt="2022-11-24T11:55:31.891" v="173" actId="1076"/>
          <ac:picMkLst>
            <pc:docMk/>
            <pc:sldMk cId="2637513573" sldId="2147470733"/>
            <ac:picMk id="5" creationId="{BC2D70F0-70CD-49CD-A868-F942699B1912}"/>
          </ac:picMkLst>
        </pc:picChg>
        <pc:picChg chg="add del mod ord">
          <ac:chgData name="Andrea Evrard Comas" userId="133e4c92-0019-454e-a908-a8ccb959cd34" providerId="ADAL" clId="{3D15CFF1-666B-4737-9425-6893B30B20E0}" dt="2022-11-24T11:55:20.636" v="167" actId="478"/>
          <ac:picMkLst>
            <pc:docMk/>
            <pc:sldMk cId="2637513573" sldId="2147470733"/>
            <ac:picMk id="7" creationId="{4288CC1F-7D09-4F56-8DA5-D1BE8E5B7800}"/>
          </ac:picMkLst>
        </pc:picChg>
        <pc:picChg chg="mod">
          <ac:chgData name="Andrea Evrard Comas" userId="133e4c92-0019-454e-a908-a8ccb959cd34" providerId="ADAL" clId="{3D15CFF1-666B-4737-9425-6893B30B20E0}" dt="2022-11-24T11:55:41.497" v="176" actId="1076"/>
          <ac:picMkLst>
            <pc:docMk/>
            <pc:sldMk cId="2637513573" sldId="2147470733"/>
            <ac:picMk id="8" creationId="{ACF4FB02-024F-4BDB-93D4-4EA99C52A056}"/>
          </ac:picMkLst>
        </pc:picChg>
        <pc:picChg chg="add del mod ord">
          <ac:chgData name="Andrea Evrard Comas" userId="133e4c92-0019-454e-a908-a8ccb959cd34" providerId="ADAL" clId="{3D15CFF1-666B-4737-9425-6893B30B20E0}" dt="2022-11-24T11:55:20.091" v="166" actId="478"/>
          <ac:picMkLst>
            <pc:docMk/>
            <pc:sldMk cId="2637513573" sldId="2147470733"/>
            <ac:picMk id="9" creationId="{15B67EDE-CA88-48C6-9CFC-8FF2338E7564}"/>
          </ac:picMkLst>
        </pc:picChg>
      </pc:sldChg>
      <pc:sldChg chg="addSp delSp modSp add mod">
        <pc:chgData name="Andrea Evrard Comas" userId="133e4c92-0019-454e-a908-a8ccb959cd34" providerId="ADAL" clId="{3D15CFF1-666B-4737-9425-6893B30B20E0}" dt="2022-11-24T11:58:09.410" v="187" actId="1037"/>
        <pc:sldMkLst>
          <pc:docMk/>
          <pc:sldMk cId="2204397293" sldId="2147470734"/>
        </pc:sldMkLst>
        <pc:spChg chg="del mod">
          <ac:chgData name="Andrea Evrard Comas" userId="133e4c92-0019-454e-a908-a8ccb959cd34" providerId="ADAL" clId="{3D15CFF1-666B-4737-9425-6893B30B20E0}" dt="2022-11-24T09:32:41.588" v="19" actId="478"/>
          <ac:spMkLst>
            <pc:docMk/>
            <pc:sldMk cId="2204397293" sldId="2147470734"/>
            <ac:spMk id="2" creationId="{F4AD2E94-4B9B-405A-A936-FFA4D1ED2862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5" creationId="{B861A9CD-9D06-4DAD-9E84-85286A58A954}"/>
          </ac:spMkLst>
        </pc:spChg>
        <pc:spChg chg="add del mod">
          <ac:chgData name="Andrea Evrard Comas" userId="133e4c92-0019-454e-a908-a8ccb959cd34" providerId="ADAL" clId="{3D15CFF1-666B-4737-9425-6893B30B20E0}" dt="2022-11-24T09:36:00.275" v="84" actId="478"/>
          <ac:spMkLst>
            <pc:docMk/>
            <pc:sldMk cId="2204397293" sldId="2147470734"/>
            <ac:spMk id="8" creationId="{A6D3FC39-4689-4015-8E89-DE9006AFA69A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9" creationId="{4067C779-14D6-4AD7-8EF4-26160CB43A1B}"/>
          </ac:spMkLst>
        </pc:spChg>
        <pc:spChg chg="mod">
          <ac:chgData name="Andrea Evrard Comas" userId="133e4c92-0019-454e-a908-a8ccb959cd34" providerId="ADAL" clId="{3D15CFF1-666B-4737-9425-6893B30B20E0}" dt="2022-11-24T11:58:09.410" v="187" actId="1037"/>
          <ac:spMkLst>
            <pc:docMk/>
            <pc:sldMk cId="2204397293" sldId="2147470734"/>
            <ac:spMk id="12" creationId="{85B1D1FB-57EF-4273-9AA2-BD14350F3496}"/>
          </ac:spMkLst>
        </pc:spChg>
        <pc:spChg chg="del mod">
          <ac:chgData name="Andrea Evrard Comas" userId="133e4c92-0019-454e-a908-a8ccb959cd34" providerId="ADAL" clId="{3D15CFF1-666B-4737-9425-6893B30B20E0}" dt="2022-11-24T09:32:43.227" v="22" actId="478"/>
          <ac:spMkLst>
            <pc:docMk/>
            <pc:sldMk cId="2204397293" sldId="2147470734"/>
            <ac:spMk id="13" creationId="{0D615A52-C2E4-4112-A794-3C231E76D35A}"/>
          </ac:spMkLst>
        </pc:spChg>
        <pc:spChg chg="mod">
          <ac:chgData name="Andrea Evrard Comas" userId="133e4c92-0019-454e-a908-a8ccb959cd34" providerId="ADAL" clId="{3D15CFF1-666B-4737-9425-6893B30B20E0}" dt="2022-11-24T11:58:09.410" v="187" actId="1037"/>
          <ac:spMkLst>
            <pc:docMk/>
            <pc:sldMk cId="2204397293" sldId="2147470734"/>
            <ac:spMk id="14" creationId="{9809D796-014A-438F-8F7B-4459F85F99C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5" creationId="{E7EEBFED-2ECA-4B88-82F3-315F7586D898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11:49:12.041" v="120" actId="207"/>
          <ac:spMkLst>
            <pc:docMk/>
            <pc:sldMk cId="2204397293" sldId="2147470734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9" creationId="{D339A350-7F94-4D73-A450-A604A4AEC323}"/>
          </ac:spMkLst>
        </pc:spChg>
        <pc:spChg chg="del mod">
          <ac:chgData name="Andrea Evrard Comas" userId="133e4c92-0019-454e-a908-a8ccb959cd34" providerId="ADAL" clId="{3D15CFF1-666B-4737-9425-6893B30B20E0}" dt="2022-11-24T09:33:09.474" v="30" actId="478"/>
          <ac:spMkLst>
            <pc:docMk/>
            <pc:sldMk cId="2204397293" sldId="2147470734"/>
            <ac:spMk id="20" creationId="{0D680184-0848-47F1-BF8E-F0C7F384865E}"/>
          </ac:spMkLst>
        </pc:spChg>
        <pc:spChg chg="del mod">
          <ac:chgData name="Andrea Evrard Comas" userId="133e4c92-0019-454e-a908-a8ccb959cd34" providerId="ADAL" clId="{3D15CFF1-666B-4737-9425-6893B30B20E0}" dt="2022-11-24T09:33:07.974" v="29" actId="478"/>
          <ac:spMkLst>
            <pc:docMk/>
            <pc:sldMk cId="2204397293" sldId="2147470734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6:40.485" v="113" actId="688"/>
          <ac:spMkLst>
            <pc:docMk/>
            <pc:sldMk cId="2204397293" sldId="2147470734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11:49:15.714" v="121" actId="207"/>
          <ac:spMkLst>
            <pc:docMk/>
            <pc:sldMk cId="2204397293" sldId="2147470734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6:23.627" v="97" actId="688"/>
          <ac:spMkLst>
            <pc:docMk/>
            <pc:sldMk cId="2204397293" sldId="2147470734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11:49:17.616" v="122" actId="207"/>
          <ac:spMkLst>
            <pc:docMk/>
            <pc:sldMk cId="2204397293" sldId="2147470734"/>
            <ac:spMk id="25" creationId="{34C9E9D7-A739-4FF0-BAEE-3A7E44992BB9}"/>
          </ac:spMkLst>
        </pc:s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1" creationId="{00000000-0000-0000-0000-000000000000}"/>
          </ac:grpSpMkLst>
        </pc:gr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6" creationId="{3D4AAD72-0089-43ED-85F0-140C0F296BAA}"/>
          </ac:grpSpMkLst>
        </pc:grpChg>
        <pc:grpChg chg="mod">
          <ac:chgData name="Andrea Evrard Comas" userId="133e4c92-0019-454e-a908-a8ccb959cd34" providerId="ADAL" clId="{3D15CFF1-666B-4737-9425-6893B30B20E0}" dt="2022-11-24T09:36:06.373" v="94" actId="1035"/>
          <ac:grpSpMkLst>
            <pc:docMk/>
            <pc:sldMk cId="2204397293" sldId="2147470734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6:00.797" v="86"/>
          <ac:graphicFrameMkLst>
            <pc:docMk/>
            <pc:sldMk cId="2204397293" sldId="2147470734"/>
            <ac:graphicFrameMk id="4" creationId="{8151242A-E4F1-4B89-A511-5D7392C89FB6}"/>
          </ac:graphicFrameMkLst>
        </pc:graphicFrameChg>
        <pc:picChg chg="mod">
          <ac:chgData name="Andrea Evrard Comas" userId="133e4c92-0019-454e-a908-a8ccb959cd34" providerId="ADAL" clId="{3D15CFF1-666B-4737-9425-6893B30B20E0}" dt="2022-11-24T09:32:38.873" v="18"/>
          <ac:picMkLst>
            <pc:docMk/>
            <pc:sldMk cId="2204397293" sldId="2147470734"/>
            <ac:picMk id="3" creationId="{EA998E67-DFD4-4493-B583-1D39295B2F4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3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24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/>
              <a:t>TEAM 2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3" y="127108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0330" y="2332542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35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592665" y="1357003"/>
            <a:ext cx="11006669" cy="4328930"/>
            <a:chOff x="1536885" y="1123231"/>
            <a:chExt cx="11006669" cy="432893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6885" y="1123231"/>
              <a:ext cx="4525803" cy="259557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07748" y="2421018"/>
              <a:ext cx="8235806" cy="303114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553A42-E667-4AA7-9EB3-B6579057A2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7841" y="955995"/>
            <a:ext cx="9216318" cy="51784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31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390880" y="1065284"/>
            <a:ext cx="8235004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2390880" y="1866387"/>
            <a:ext cx="9578514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5D761E8-82C1-4D75-AE5F-EA27F3684FA2}"/>
              </a:ext>
            </a:extLst>
          </p:cNvPr>
          <p:cNvGrpSpPr/>
          <p:nvPr/>
        </p:nvGrpSpPr>
        <p:grpSpPr>
          <a:xfrm>
            <a:off x="622607" y="1181983"/>
            <a:ext cx="1723417" cy="1322052"/>
            <a:chOff x="1976584" y="2211897"/>
            <a:chExt cx="4398334" cy="3374007"/>
          </a:xfrm>
        </p:grpSpPr>
        <p:sp>
          <p:nvSpPr>
            <p:cNvPr id="17" name="Freeform 1">
              <a:extLst>
                <a:ext uri="{FF2B5EF4-FFF2-40B4-BE49-F238E27FC236}">
                  <a16:creationId xmlns:a16="http://schemas.microsoft.com/office/drawing/2014/main" id="{3915212E-BCC3-41DA-B16A-EF304E6B0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466" y="2422665"/>
              <a:ext cx="2952891" cy="2952890"/>
            </a:xfrm>
            <a:custGeom>
              <a:avLst/>
              <a:gdLst>
                <a:gd name="T0" fmla="*/ 5571 w 11134"/>
                <a:gd name="T1" fmla="*/ 11132 h 11134"/>
                <a:gd name="T2" fmla="*/ 5571 w 11134"/>
                <a:gd name="T3" fmla="*/ 11132 h 11134"/>
                <a:gd name="T4" fmla="*/ 11131 w 11134"/>
                <a:gd name="T5" fmla="*/ 5563 h 11134"/>
                <a:gd name="T6" fmla="*/ 11131 w 11134"/>
                <a:gd name="T7" fmla="*/ 5563 h 11134"/>
                <a:gd name="T8" fmla="*/ 5563 w 11134"/>
                <a:gd name="T9" fmla="*/ 3 h 11134"/>
                <a:gd name="T10" fmla="*/ 5563 w 11134"/>
                <a:gd name="T11" fmla="*/ 3 h 11134"/>
                <a:gd name="T12" fmla="*/ 2 w 11134"/>
                <a:gd name="T13" fmla="*/ 5571 h 11134"/>
                <a:gd name="T14" fmla="*/ 2 w 11134"/>
                <a:gd name="T15" fmla="*/ 5571 h 11134"/>
                <a:gd name="T16" fmla="*/ 5571 w 11134"/>
                <a:gd name="T17" fmla="*/ 11132 h 1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34" h="11134">
                  <a:moveTo>
                    <a:pt x="5571" y="11132"/>
                  </a:moveTo>
                  <a:lnTo>
                    <a:pt x="5571" y="11132"/>
                  </a:lnTo>
                  <a:cubicBezTo>
                    <a:pt x="8644" y="11128"/>
                    <a:pt x="11133" y="8636"/>
                    <a:pt x="11131" y="5563"/>
                  </a:cubicBezTo>
                  <a:lnTo>
                    <a:pt x="11131" y="5563"/>
                  </a:lnTo>
                  <a:cubicBezTo>
                    <a:pt x="11129" y="2489"/>
                    <a:pt x="8635" y="0"/>
                    <a:pt x="5563" y="3"/>
                  </a:cubicBezTo>
                  <a:lnTo>
                    <a:pt x="5563" y="3"/>
                  </a:lnTo>
                  <a:cubicBezTo>
                    <a:pt x="2491" y="5"/>
                    <a:pt x="0" y="2498"/>
                    <a:pt x="2" y="5571"/>
                  </a:cubicBezTo>
                  <a:lnTo>
                    <a:pt x="2" y="5571"/>
                  </a:lnTo>
                  <a:cubicBezTo>
                    <a:pt x="4" y="8644"/>
                    <a:pt x="2498" y="11133"/>
                    <a:pt x="5571" y="11132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8" name="Freeform 2">
              <a:extLst>
                <a:ext uri="{FF2B5EF4-FFF2-40B4-BE49-F238E27FC236}">
                  <a16:creationId xmlns:a16="http://schemas.microsoft.com/office/drawing/2014/main" id="{93FC42DE-4203-4227-B45B-C0D72BBFD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154" y="2211897"/>
              <a:ext cx="1687642" cy="3374006"/>
            </a:xfrm>
            <a:custGeom>
              <a:avLst/>
              <a:gdLst>
                <a:gd name="connsiteX0" fmla="*/ 2882 w 4156546"/>
                <a:gd name="connsiteY0" fmla="*/ 3371527 h 8309941"/>
                <a:gd name="connsiteX1" fmla="*/ 785018 w 4156546"/>
                <a:gd name="connsiteY1" fmla="*/ 4150918 h 8309941"/>
                <a:gd name="connsiteX2" fmla="*/ 3535 w 4156546"/>
                <a:gd name="connsiteY2" fmla="*/ 4934226 h 8309941"/>
                <a:gd name="connsiteX3" fmla="*/ 2 w 4156546"/>
                <a:gd name="connsiteY3" fmla="*/ 1695844 h 8309941"/>
                <a:gd name="connsiteX4" fmla="*/ 2461354 w 4156546"/>
                <a:gd name="connsiteY4" fmla="*/ 4153009 h 8309941"/>
                <a:gd name="connsiteX5" fmla="*/ 3268 w 4156546"/>
                <a:gd name="connsiteY5" fmla="*/ 6613440 h 8309941"/>
                <a:gd name="connsiteX6" fmla="*/ 2615 w 4156546"/>
                <a:gd name="connsiteY6" fmla="*/ 5668729 h 8309941"/>
                <a:gd name="connsiteX7" fmla="*/ 1516791 w 4156546"/>
                <a:gd name="connsiteY7" fmla="*/ 4153663 h 8309941"/>
                <a:gd name="connsiteX8" fmla="*/ 655 w 4156546"/>
                <a:gd name="connsiteY8" fmla="*/ 2639249 h 8309941"/>
                <a:gd name="connsiteX9" fmla="*/ 0 w 4156546"/>
                <a:gd name="connsiteY9" fmla="*/ 1 h 8309941"/>
                <a:gd name="connsiteX10" fmla="*/ 4156545 w 4156546"/>
                <a:gd name="connsiteY10" fmla="*/ 4152031 h 8309941"/>
                <a:gd name="connsiteX11" fmla="*/ 5877 w 4156546"/>
                <a:gd name="connsiteY11" fmla="*/ 8309941 h 8309941"/>
                <a:gd name="connsiteX12" fmla="*/ 4571 w 4156546"/>
                <a:gd name="connsiteY12" fmla="*/ 7365348 h 8309941"/>
                <a:gd name="connsiteX13" fmla="*/ 3212914 w 4156546"/>
                <a:gd name="connsiteY13" fmla="*/ 4153338 h 8309941"/>
                <a:gd name="connsiteX14" fmla="*/ 0 w 4156546"/>
                <a:gd name="connsiteY14" fmla="*/ 943288 h 830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56546" h="8309941">
                  <a:moveTo>
                    <a:pt x="2882" y="3371527"/>
                  </a:moveTo>
                  <a:cubicBezTo>
                    <a:pt x="435081" y="3370874"/>
                    <a:pt x="784365" y="3719446"/>
                    <a:pt x="785018" y="4150918"/>
                  </a:cubicBezTo>
                  <a:cubicBezTo>
                    <a:pt x="785671" y="4583043"/>
                    <a:pt x="436387" y="4934226"/>
                    <a:pt x="3535" y="4934226"/>
                  </a:cubicBezTo>
                  <a:close/>
                  <a:moveTo>
                    <a:pt x="2" y="1695844"/>
                  </a:moveTo>
                  <a:cubicBezTo>
                    <a:pt x="1355444" y="1694538"/>
                    <a:pt x="2460701" y="2796701"/>
                    <a:pt x="2461354" y="4153009"/>
                  </a:cubicBezTo>
                  <a:cubicBezTo>
                    <a:pt x="2462008" y="5507357"/>
                    <a:pt x="1359364" y="6612788"/>
                    <a:pt x="3268" y="6613440"/>
                  </a:cubicBezTo>
                  <a:lnTo>
                    <a:pt x="2615" y="5668729"/>
                  </a:lnTo>
                  <a:cubicBezTo>
                    <a:pt x="839396" y="5668076"/>
                    <a:pt x="1517444" y="4989269"/>
                    <a:pt x="1516791" y="4153663"/>
                  </a:cubicBezTo>
                  <a:cubicBezTo>
                    <a:pt x="1515484" y="3316750"/>
                    <a:pt x="837437" y="2638596"/>
                    <a:pt x="655" y="2639249"/>
                  </a:cubicBezTo>
                  <a:close/>
                  <a:moveTo>
                    <a:pt x="0" y="1"/>
                  </a:moveTo>
                  <a:cubicBezTo>
                    <a:pt x="2290834" y="-1959"/>
                    <a:pt x="4154586" y="1860445"/>
                    <a:pt x="4156545" y="4152031"/>
                  </a:cubicBezTo>
                  <a:cubicBezTo>
                    <a:pt x="4158504" y="6442964"/>
                    <a:pt x="2296712" y="8308634"/>
                    <a:pt x="5877" y="8309941"/>
                  </a:cubicBezTo>
                  <a:lnTo>
                    <a:pt x="4571" y="7365348"/>
                  </a:lnTo>
                  <a:cubicBezTo>
                    <a:pt x="1774939" y="7364041"/>
                    <a:pt x="3214220" y="5922980"/>
                    <a:pt x="3212914" y="4153338"/>
                  </a:cubicBezTo>
                  <a:cubicBezTo>
                    <a:pt x="3210956" y="2381735"/>
                    <a:pt x="1770368" y="941981"/>
                    <a:pt x="0" y="943288"/>
                  </a:cubicBezTo>
                  <a:close/>
                </a:path>
              </a:pathLst>
            </a:custGeom>
            <a:solidFill>
              <a:srgbClr val="9BE2FF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9" name="Freeform 3">
              <a:extLst>
                <a:ext uri="{FF2B5EF4-FFF2-40B4-BE49-F238E27FC236}">
                  <a16:creationId xmlns:a16="http://schemas.microsoft.com/office/drawing/2014/main" id="{D339A350-7F94-4D73-A450-A604A4AEC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584" y="2212163"/>
              <a:ext cx="1688812" cy="3373741"/>
            </a:xfrm>
            <a:custGeom>
              <a:avLst/>
              <a:gdLst>
                <a:gd name="connsiteX0" fmla="*/ 4153013 w 4159426"/>
                <a:gd name="connsiteY0" fmla="*/ 3372833 h 8309289"/>
                <a:gd name="connsiteX1" fmla="*/ 4153667 w 4159426"/>
                <a:gd name="connsiteY1" fmla="*/ 4936185 h 8309289"/>
                <a:gd name="connsiteX2" fmla="*/ 3370878 w 4159426"/>
                <a:gd name="connsiteY2" fmla="*/ 4153856 h 8309289"/>
                <a:gd name="connsiteX3" fmla="*/ 4153013 w 4159426"/>
                <a:gd name="connsiteY3" fmla="*/ 3372833 h 8309289"/>
                <a:gd name="connsiteX4" fmla="*/ 4150404 w 4159426"/>
                <a:gd name="connsiteY4" fmla="*/ 1696497 h 8309289"/>
                <a:gd name="connsiteX5" fmla="*/ 4151057 w 4159426"/>
                <a:gd name="connsiteY5" fmla="*/ 2639475 h 8309289"/>
                <a:gd name="connsiteX6" fmla="*/ 2639808 w 4159426"/>
                <a:gd name="connsiteY6" fmla="*/ 4155162 h 8309289"/>
                <a:gd name="connsiteX7" fmla="*/ 4153016 w 4159426"/>
                <a:gd name="connsiteY7" fmla="*/ 5667584 h 8309289"/>
                <a:gd name="connsiteX8" fmla="*/ 4153668 w 4159426"/>
                <a:gd name="connsiteY8" fmla="*/ 6611868 h 8309289"/>
                <a:gd name="connsiteX9" fmla="*/ 1695196 w 4159426"/>
                <a:gd name="connsiteY9" fmla="*/ 4156468 h 8309289"/>
                <a:gd name="connsiteX10" fmla="*/ 4150404 w 4159426"/>
                <a:gd name="connsiteY10" fmla="*/ 1696497 h 8309289"/>
                <a:gd name="connsiteX11" fmla="*/ 4152893 w 4159426"/>
                <a:gd name="connsiteY11" fmla="*/ 0 h 8309289"/>
                <a:gd name="connsiteX12" fmla="*/ 4153546 w 4159426"/>
                <a:gd name="connsiteY12" fmla="*/ 943213 h 8309289"/>
                <a:gd name="connsiteX13" fmla="*/ 944791 w 4159426"/>
                <a:gd name="connsiteY13" fmla="*/ 4157583 h 8309289"/>
                <a:gd name="connsiteX14" fmla="*/ 4158120 w 4159426"/>
                <a:gd name="connsiteY14" fmla="*/ 7364768 h 8309289"/>
                <a:gd name="connsiteX15" fmla="*/ 4159426 w 4159426"/>
                <a:gd name="connsiteY15" fmla="*/ 8309287 h 8309289"/>
                <a:gd name="connsiteX16" fmla="*/ 2 w 4159426"/>
                <a:gd name="connsiteY16" fmla="*/ 4157583 h 8309289"/>
                <a:gd name="connsiteX17" fmla="*/ 4152893 w 4159426"/>
                <a:gd name="connsiteY17" fmla="*/ 0 h 8309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59426" h="8309289">
                  <a:moveTo>
                    <a:pt x="4153013" y="3372833"/>
                  </a:moveTo>
                  <a:lnTo>
                    <a:pt x="4153667" y="4936185"/>
                  </a:lnTo>
                  <a:cubicBezTo>
                    <a:pt x="3722414" y="4936185"/>
                    <a:pt x="3370878" y="4586161"/>
                    <a:pt x="3370878" y="4153856"/>
                  </a:cubicBezTo>
                  <a:cubicBezTo>
                    <a:pt x="3370878" y="3722857"/>
                    <a:pt x="3721761" y="3372833"/>
                    <a:pt x="4153013" y="3372833"/>
                  </a:cubicBezTo>
                  <a:close/>
                  <a:moveTo>
                    <a:pt x="4150404" y="1696497"/>
                  </a:moveTo>
                  <a:lnTo>
                    <a:pt x="4151057" y="2639475"/>
                  </a:lnTo>
                  <a:cubicBezTo>
                    <a:pt x="3316116" y="2641434"/>
                    <a:pt x="2639155" y="3319281"/>
                    <a:pt x="2639808" y="4155162"/>
                  </a:cubicBezTo>
                  <a:cubicBezTo>
                    <a:pt x="2639808" y="4990390"/>
                    <a:pt x="3318075" y="5668237"/>
                    <a:pt x="4153016" y="5667584"/>
                  </a:cubicBezTo>
                  <a:lnTo>
                    <a:pt x="4153668" y="6611868"/>
                  </a:lnTo>
                  <a:cubicBezTo>
                    <a:pt x="2799746" y="6612521"/>
                    <a:pt x="1695849" y="5510856"/>
                    <a:pt x="1695196" y="4156468"/>
                  </a:cubicBezTo>
                  <a:cubicBezTo>
                    <a:pt x="1694543" y="2800774"/>
                    <a:pt x="2796482" y="1697803"/>
                    <a:pt x="4150404" y="1696497"/>
                  </a:cubicBezTo>
                  <a:close/>
                  <a:moveTo>
                    <a:pt x="4152893" y="0"/>
                  </a:moveTo>
                  <a:lnTo>
                    <a:pt x="4153546" y="943213"/>
                  </a:lnTo>
                  <a:cubicBezTo>
                    <a:pt x="2383536" y="945173"/>
                    <a:pt x="943485" y="2386120"/>
                    <a:pt x="944791" y="4157583"/>
                  </a:cubicBezTo>
                  <a:cubicBezTo>
                    <a:pt x="946098" y="5926433"/>
                    <a:pt x="2387457" y="7366074"/>
                    <a:pt x="4158120" y="7364768"/>
                  </a:cubicBezTo>
                  <a:lnTo>
                    <a:pt x="4159426" y="8309287"/>
                  </a:lnTo>
                  <a:cubicBezTo>
                    <a:pt x="1868019" y="8311900"/>
                    <a:pt x="1962" y="6448336"/>
                    <a:pt x="2" y="4157583"/>
                  </a:cubicBezTo>
                  <a:cubicBezTo>
                    <a:pt x="-1958" y="1865524"/>
                    <a:pt x="1861485" y="1960"/>
                    <a:pt x="415289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8BD9E2BF-0865-4DC2-830E-F24AC05D7B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149673">
              <a:off x="4821947" y="2109085"/>
              <a:ext cx="104820" cy="2274483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3" name="Teardrop 22">
              <a:extLst>
                <a:ext uri="{FF2B5EF4-FFF2-40B4-BE49-F238E27FC236}">
                  <a16:creationId xmlns:a16="http://schemas.microsoft.com/office/drawing/2014/main" id="{C646D548-F87B-4103-8DEA-D7EEFF11695D}"/>
                </a:ext>
              </a:extLst>
            </p:cNvPr>
            <p:cNvSpPr>
              <a:spLocks/>
            </p:cNvSpPr>
            <p:nvPr/>
          </p:nvSpPr>
          <p:spPr>
            <a:xfrm rot="2037640">
              <a:off x="5629684" y="2488404"/>
              <a:ext cx="745234" cy="787578"/>
            </a:xfrm>
            <a:prstGeom prst="teardrop">
              <a:avLst>
                <a:gd name="adj" fmla="val 29107"/>
              </a:avLst>
            </a:prstGeom>
            <a:solidFill>
              <a:srgbClr val="9BE2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C4718D75-BC9E-4501-9449-74ECCFE64F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6515535">
              <a:off x="4835925" y="3285018"/>
              <a:ext cx="104820" cy="2274486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34C9E9D7-A739-4FF0-BAEE-3A7E44992BB9}"/>
                </a:ext>
              </a:extLst>
            </p:cNvPr>
            <p:cNvSpPr>
              <a:spLocks/>
            </p:cNvSpPr>
            <p:nvPr/>
          </p:nvSpPr>
          <p:spPr>
            <a:xfrm rot="3378098">
              <a:off x="5568036" y="4373228"/>
              <a:ext cx="745233" cy="787578"/>
            </a:xfrm>
            <a:prstGeom prst="teardrop">
              <a:avLst>
                <a:gd name="adj" fmla="val 29107"/>
              </a:avLst>
            </a:prstGeom>
            <a:solidFill>
              <a:srgbClr val="9BE2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39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177553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baseline="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15</TotalTime>
  <Words>540</Words>
  <Application>Microsoft Office PowerPoint</Application>
  <PresentationFormat>Widescreen</PresentationFormat>
  <Paragraphs>7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 EY Interstate Light</vt:lpstr>
      <vt:lpstr>Arial</vt:lpstr>
      <vt:lpstr>Arial Narrow</vt:lpstr>
      <vt:lpstr>Calibri</vt:lpstr>
      <vt:lpstr>EYInterstate</vt:lpstr>
      <vt:lpstr>Lato Light</vt:lpstr>
      <vt:lpstr>EY</vt:lpstr>
      <vt:lpstr>think-cell Slide</vt:lpstr>
      <vt:lpstr>Case Study: Regr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4T16:46:31Z</dcterms:modified>
</cp:coreProperties>
</file>